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3"/>
  </p:notesMasterIdLst>
  <p:handoutMasterIdLst>
    <p:handoutMasterId r:id="rId14"/>
  </p:handoutMasterIdLst>
  <p:sldIdLst>
    <p:sldId id="256" r:id="rId6"/>
    <p:sldId id="693" r:id="rId7"/>
    <p:sldId id="697" r:id="rId8"/>
    <p:sldId id="699" r:id="rId9"/>
    <p:sldId id="695" r:id="rId10"/>
    <p:sldId id="700" r:id="rId11"/>
    <p:sldId id="69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695"/>
            <p14:sldId id="700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5510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061BD-25D6-4654-B02F-69448E67E1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2076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50622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374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22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481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59722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86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40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40137" y="2266405"/>
            <a:ext cx="5138057" cy="1162595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Making decisions in Python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82259"/>
            <a:ext cx="11593145" cy="2481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br>
              <a:rPr lang="en-US" sz="2400" dirty="0"/>
            </a:br>
            <a:endParaRPr lang="en-US" sz="2400" dirty="0"/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Programming languages provide various control structures that allow for more complicated execution path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nditional Statements in Python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960745"/>
            <a:ext cx="11593145" cy="2936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re are two types of loops in Python</a:t>
            </a:r>
          </a:p>
          <a:p>
            <a:pPr marL="342900" marR="0" lvl="0" indent="-342900">
              <a:lnSpc>
                <a:spcPct val="115000"/>
              </a:lnSpc>
              <a:spcBef>
                <a:spcPts val="180"/>
              </a:spcBef>
              <a:spcAft>
                <a:spcPts val="18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oop	and</a:t>
            </a:r>
          </a:p>
          <a:p>
            <a:pPr marL="342900" marR="0" lvl="0" indent="-342900">
              <a:lnSpc>
                <a:spcPct val="115000"/>
              </a:lnSpc>
              <a:spcBef>
                <a:spcPts val="180"/>
              </a:spcBef>
              <a:spcAft>
                <a:spcPts val="12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hile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oop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3600" dirty="0"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ypes of loop</a:t>
            </a:r>
          </a:p>
        </p:txBody>
      </p:sp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215990"/>
            <a:ext cx="11130455" cy="45440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for loop is used to iterate over a sequence of object such as list, tuple, set, string or a dictionary.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GB" sz="2400" b="1" dirty="0">
                <a:solidFill>
                  <a:srgbClr val="833C0B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or loop syntax 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endParaRPr lang="en-US" sz="2000" b="1" dirty="0">
              <a:solidFill>
                <a:srgbClr val="833C0B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atinLnBrk="1"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or </a:t>
            </a:r>
            <a:r>
              <a:rPr lang="en-US" sz="2400" i="0" dirty="0">
                <a:solidFill>
                  <a:srgbClr val="5B9BD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item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in object: 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latinLnBrk="1"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   statements to do 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naming of the </a:t>
            </a:r>
            <a:r>
              <a:rPr lang="en-US" sz="2400" b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tem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s completely up to you, so use your best judgment for choosing a name that makes sense and you will be able to understand when revisiting your cod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609337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he for loop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215990"/>
            <a:ext cx="11130455" cy="5350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while loop will repeatedly execute a single statement or group of statements as long as the condition being checked is </a:t>
            </a:r>
            <a:r>
              <a:rPr 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 The reason it is called a ‘while loop’ is because the code statements are looped through over and over again until the condition is no longer </a:t>
            </a:r>
            <a:r>
              <a:rPr 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yntax of while Loop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while </a:t>
            </a:r>
            <a:r>
              <a:rPr lang="en-US" sz="2400" i="0" dirty="0" err="1">
                <a:solidFill>
                  <a:srgbClr val="5B9BD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est_expression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    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Body of while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3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6093372" cy="1343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he while loop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86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0</TotalTime>
  <Words>197</Words>
  <Application>Microsoft Office PowerPoint</Application>
  <PresentationFormat>Widescreen</PresentationFormat>
  <Paragraphs>23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Gotham Light</vt:lpstr>
      <vt:lpstr>Lato Light</vt:lpstr>
      <vt:lpstr>Symbol</vt:lpstr>
      <vt:lpstr>2_Office Theme</vt:lpstr>
      <vt:lpstr>1_Office Theme</vt:lpstr>
      <vt:lpstr>think-cell Slide</vt:lpstr>
      <vt:lpstr>Introduction to Programming in Python</vt:lpstr>
      <vt:lpstr>Making decisions in Pyth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9</cp:revision>
  <dcterms:created xsi:type="dcterms:W3CDTF">2020-03-16T19:15:12Z</dcterms:created>
  <dcterms:modified xsi:type="dcterms:W3CDTF">2024-05-03T12:3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